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8731" r:id="rId4"/>
  </p:sldMasterIdLst>
  <p:notesMasterIdLst>
    <p:notesMasterId r:id="rId70"/>
  </p:notesMasterIdLst>
  <p:handoutMasterIdLst>
    <p:handoutMasterId r:id="rId71"/>
  </p:handoutMasterIdLst>
  <p:sldIdLst>
    <p:sldId id="257" r:id="rId5"/>
    <p:sldId id="2146847468" r:id="rId6"/>
    <p:sldId id="6031" r:id="rId7"/>
    <p:sldId id="2146847467" r:id="rId8"/>
    <p:sldId id="2146847522" r:id="rId9"/>
    <p:sldId id="2146847523" r:id="rId10"/>
    <p:sldId id="2146847524" r:id="rId11"/>
    <p:sldId id="2146847525" r:id="rId12"/>
    <p:sldId id="2146847473" r:id="rId13"/>
    <p:sldId id="283" r:id="rId14"/>
    <p:sldId id="297" r:id="rId15"/>
    <p:sldId id="298" r:id="rId16"/>
    <p:sldId id="299" r:id="rId17"/>
    <p:sldId id="301" r:id="rId18"/>
    <p:sldId id="303" r:id="rId19"/>
    <p:sldId id="302" r:id="rId20"/>
    <p:sldId id="300" r:id="rId21"/>
    <p:sldId id="305" r:id="rId22"/>
    <p:sldId id="2146847538" r:id="rId23"/>
    <p:sldId id="2146847539" r:id="rId24"/>
    <p:sldId id="2146847590" r:id="rId25"/>
    <p:sldId id="2146847540" r:id="rId26"/>
    <p:sldId id="306" r:id="rId27"/>
    <p:sldId id="2146847588" r:id="rId28"/>
    <p:sldId id="2146847589" r:id="rId29"/>
    <p:sldId id="2146847541" r:id="rId30"/>
    <p:sldId id="2146847542" r:id="rId31"/>
    <p:sldId id="2146847543" r:id="rId32"/>
    <p:sldId id="2146847544" r:id="rId33"/>
    <p:sldId id="2146847545" r:id="rId34"/>
    <p:sldId id="2146847546" r:id="rId35"/>
    <p:sldId id="2146847547" r:id="rId36"/>
    <p:sldId id="2146847549" r:id="rId37"/>
    <p:sldId id="2146847550" r:id="rId38"/>
    <p:sldId id="2146847551" r:id="rId39"/>
    <p:sldId id="2146847552" r:id="rId40"/>
    <p:sldId id="2146847553" r:id="rId41"/>
    <p:sldId id="2146847554" r:id="rId42"/>
    <p:sldId id="2146847555" r:id="rId43"/>
    <p:sldId id="2146847556" r:id="rId44"/>
    <p:sldId id="2146847557" r:id="rId45"/>
    <p:sldId id="2146847558" r:id="rId46"/>
    <p:sldId id="2146847559" r:id="rId47"/>
    <p:sldId id="2146847560" r:id="rId48"/>
    <p:sldId id="2146847504" r:id="rId49"/>
    <p:sldId id="2146847591" r:id="rId50"/>
    <p:sldId id="2146847506" r:id="rId51"/>
    <p:sldId id="2146847561" r:id="rId52"/>
    <p:sldId id="2146847562" r:id="rId53"/>
    <p:sldId id="2146847563" r:id="rId54"/>
    <p:sldId id="2146847533" r:id="rId55"/>
    <p:sldId id="2146847564" r:id="rId56"/>
    <p:sldId id="2146847502" r:id="rId57"/>
    <p:sldId id="2146847565" r:id="rId58"/>
    <p:sldId id="2146847576" r:id="rId59"/>
    <p:sldId id="2146847577" r:id="rId60"/>
    <p:sldId id="2146847578" r:id="rId61"/>
    <p:sldId id="2146847579" r:id="rId62"/>
    <p:sldId id="2146847580" r:id="rId63"/>
    <p:sldId id="2146847581" r:id="rId64"/>
    <p:sldId id="2146847582" r:id="rId65"/>
    <p:sldId id="2146847583" r:id="rId66"/>
    <p:sldId id="2146847584" r:id="rId67"/>
    <p:sldId id="2146847585" r:id="rId68"/>
    <p:sldId id="2146847586" r:id="rId69"/>
  </p:sldIdLst>
  <p:sldSz cx="9906000" cy="6858000" type="A4"/>
  <p:notesSz cx="6797675" cy="9928225"/>
  <p:custDataLst>
    <p:tags r:id="rId72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hor" initials="A" lastIdx="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hiddenSlides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3366FF"/>
    <a:srgbClr val="FF7E79"/>
    <a:srgbClr val="009644"/>
    <a:srgbClr val="0100FE"/>
    <a:srgbClr val="388BD0"/>
    <a:srgbClr val="787F04"/>
    <a:srgbClr val="8BB88D"/>
    <a:srgbClr val="B798CF"/>
    <a:srgbClr val="32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77" autoAdjust="0"/>
    <p:restoredTop sz="93557" autoAdjust="0"/>
  </p:normalViewPr>
  <p:slideViewPr>
    <p:cSldViewPr snapToGrid="0">
      <p:cViewPr varScale="1">
        <p:scale>
          <a:sx n="162" d="100"/>
          <a:sy n="162" d="100"/>
        </p:scale>
        <p:origin x="4314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4782" y="127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notesMaster" Target="notesMasters/notesMaster1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commentAuthors" Target="commentAuthors.xml"/><Relationship Id="rId78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841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6125"/>
            <a:ext cx="537527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</p:spTree>
    <p:extLst>
      <p:ext uri="{BB962C8B-B14F-4D97-AF65-F5344CB8AC3E}">
        <p14:creationId xmlns:p14="http://schemas.microsoft.com/office/powerpoint/2010/main" val="20380264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001420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6890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3416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5869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488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893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9331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8013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0208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4118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2670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4491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11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13" Type="http://schemas.openxmlformats.org/officeDocument/2006/relationships/image" Target="../media/image14.jpeg"/><Relationship Id="rId18" Type="http://schemas.openxmlformats.org/officeDocument/2006/relationships/image" Target="../media/image19.svg"/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jpeg"/><Relationship Id="rId16" Type="http://schemas.openxmlformats.org/officeDocument/2006/relationships/image" Target="../media/image17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jpg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13" Type="http://schemas.openxmlformats.org/officeDocument/2006/relationships/image" Target="../media/image14.jpeg"/><Relationship Id="rId18" Type="http://schemas.openxmlformats.org/officeDocument/2006/relationships/image" Target="../media/image19.svg"/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jpeg"/><Relationship Id="rId16" Type="http://schemas.openxmlformats.org/officeDocument/2006/relationships/image" Target="../media/image17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jpg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640000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3366FF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</a:t>
            </a:r>
            <a:r>
              <a:rPr lang="en-US"/>
              <a:t>edit Descrip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540000" y="1080000"/>
            <a:ext cx="9000000" cy="4320000"/>
          </a:xfrm>
        </p:spPr>
        <p:txBody>
          <a:bodyPr/>
          <a:lstStyle>
            <a:lvl1pPr>
              <a:defRPr b="0" i="0">
                <a:solidFill>
                  <a:srgbClr val="3366FF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[Add text]</a:t>
            </a:r>
          </a:p>
          <a:p>
            <a:pPr lvl="2"/>
            <a:r>
              <a:rPr lang="en-US" dirty="0"/>
              <a:t>[Add text]</a:t>
            </a:r>
          </a:p>
          <a:p>
            <a:pPr lvl="3"/>
            <a:r>
              <a:rPr lang="en-US" dirty="0"/>
              <a:t>[Add text]</a:t>
            </a:r>
            <a:endParaRPr lang="nl-NL" dirty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163FFC53-B4C8-3948-9F3E-8E9AA9898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999" y="6553200"/>
            <a:ext cx="334327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| DD/MM/YYYY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196366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6798796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376894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3366FF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Description</a:t>
            </a:r>
          </a:p>
          <a:p>
            <a:pPr lvl="0">
              <a:spcBef>
                <a:spcPct val="0"/>
              </a:spcBef>
            </a:pPr>
            <a:endParaRPr lang="nl-NL" dirty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36FB24C9-4EA8-1C44-B915-5E9285627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999" y="6553200"/>
            <a:ext cx="334327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| DD/MM/YYYY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843459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926168" y="2912663"/>
            <a:ext cx="7395317" cy="792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baseline="0" dirty="0">
                <a:solidFill>
                  <a:schemeClr val="tx2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322"/>
            <a:ext cx="7395317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3000" b="0" i="0" baseline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the meeting</a:t>
            </a:r>
          </a:p>
        </p:txBody>
      </p:sp>
      <p:grpSp>
        <p:nvGrpSpPr>
          <p:cNvPr id="161" name="Graphic 3">
            <a:extLst>
              <a:ext uri="{FF2B5EF4-FFF2-40B4-BE49-F238E27FC236}">
                <a16:creationId xmlns:a16="http://schemas.microsoft.com/office/drawing/2014/main" id="{0CD8ADA5-8F92-4554-B026-77F47736CA6D}"/>
              </a:ext>
            </a:extLst>
          </p:cNvPr>
          <p:cNvGrpSpPr>
            <a:grpSpLocks/>
          </p:cNvGrpSpPr>
          <p:nvPr userDrawn="1"/>
        </p:nvGrpSpPr>
        <p:grpSpPr>
          <a:xfrm>
            <a:off x="4830577" y="2379445"/>
            <a:ext cx="5580000" cy="4460400"/>
            <a:chOff x="66025" y="-34306"/>
            <a:chExt cx="6381750" cy="5895975"/>
          </a:xfrm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4E29C2D3-A23A-475E-ADFD-E18D9CA663A9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34AE2FD-7B38-405F-825B-32C4DFBE3385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7544EF93-D6DB-4383-8F27-964E55DFD859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51E76D50-2021-4BFC-9880-8D03EC62ECC1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2E9D3B00-85FC-4691-A0E3-08835F15F394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6EC0746B-8391-4A6E-84B9-4FCD93197C17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003148F5-74A7-44E6-9797-EA3C6C4F2724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7F547AD2-0592-4BBE-8DAA-E39DA7FA4765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570D6ED2-D417-4439-9C27-7A1895C9117A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FDE50500-F2AB-450F-908F-5EF21B38E96D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884C6493-08C8-4679-9200-FD8247C1B096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5BDA4D17-B2AC-48E6-ADE4-0905618EB51A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E1943416-4C7E-481A-8D67-5886E7EE0068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7B262B4E-CCF8-48FB-BAC8-633C35083B45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05145005-D286-4846-8652-53F5150847B3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BBE050C0-428D-4917-B6FA-0476A9EBEB9E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8B9E31CB-38FF-4E31-A160-19C27FDDEC9A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2104DE44-BFDE-4BFD-A680-43AF552CD7E0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E9425343-BE95-4DEA-85AD-C655A6887FDE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C26F890-1BF5-4511-A1AD-26714D9D4878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621359D7-1EE5-4D39-BB9C-08FF8CB994F2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4CF09B19-85C5-42E8-A912-AF948F6D3DB9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76151290-266A-4468-B6E6-919E9BE7918C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7489208B-85B7-4E6D-85E1-FD125010F0CB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3F8290F0-D778-4AE7-8E10-FFFF4BC974E4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37F892D6-1BA7-43F9-A999-76BCDBE7D53A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84BCE80F-83C1-44F5-9FE1-16FA0C5C83C7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3B32754D-3E5F-4015-B2AA-C0AF959A2E66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57085BC-09FE-4530-8928-A158CE34019F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0175BE5F-38C5-471D-9653-1F23F877B7AF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AFC9A18B-BCB3-4C5B-8A90-7CD820B7456E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D79E45CE-F531-430F-A611-EFC1194E3BFE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FDE15936-D8D8-440F-BA99-7BB8F07288B1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E3C5FF34-A78C-4467-846C-713CB41EAF5B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277F4E04-A131-42C8-A18A-6BF1E68E9761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8689E83A-946B-4ABB-8201-E09BE6568FDA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DC63CD5D-D5F2-4A34-8958-0A5B571439E7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3AE89A28-1388-4F7E-883A-191A136A889D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F50403AD-6617-4BA1-BC4B-2589D5F0A0BF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BA34FA4D-9EFF-4AEB-B417-247C1C1C3D6D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53289D53-DB1C-467C-A726-63E1101D03BE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7C5C6DD8-D050-4F38-9E63-4C0199D6DC1D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7650D9E6-1C8E-4631-96B8-25B14CA16043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FBF9121E-EF86-4F7A-9BCB-15FCED4340BD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7997A310-2F48-4B8C-BA5A-FDFE924A1D01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9D6DE197-1962-4681-BB29-003127D8E663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7FD5173B-D8BE-43D7-B44F-51ED959ED84A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E1168188-5084-486D-BD85-EBD8287FA20A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1F154C30-B0BC-4216-8E39-C52393F48F52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EF1A51A-4CDC-4918-922A-8E42BA210951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01478734-0AC6-49AA-BF32-5CA553A98943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164155F0-7259-0083-BF71-43D1E67CCC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5062" y="5137252"/>
            <a:ext cx="814736" cy="3059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F950830-2BF7-C01D-4F0A-2E779F7D92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27" y="4216462"/>
            <a:ext cx="663210" cy="52967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F5D7B02-2C89-8B56-D153-D75A4FB6980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317253" y="2421002"/>
            <a:ext cx="670193" cy="3227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AD0BF7-9004-357E-A3C5-901E0E39215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9456" y="3550937"/>
            <a:ext cx="648702" cy="325052"/>
          </a:xfrm>
          <a:prstGeom prst="rect">
            <a:avLst/>
          </a:prstGeom>
        </p:spPr>
      </p:pic>
      <p:pic>
        <p:nvPicPr>
          <p:cNvPr id="6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07922BA7-FFCA-9BB3-353C-E4A1D55E1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563" y="5392629"/>
            <a:ext cx="834236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12105E6-8F9B-E326-5E91-22D6CDB2E1B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39971" y="2147510"/>
            <a:ext cx="606064" cy="3794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BEF42A-4B4F-E77B-A2A5-D523BB14C7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133792" y="2752294"/>
            <a:ext cx="631011" cy="2539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360BB9-91EB-EFE7-F9C6-2939B4D04B5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698332"/>
            <a:ext cx="592836" cy="1965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E4C7996-BCB2-30BE-DEDB-5CCCCC5030C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87703" y="5476257"/>
            <a:ext cx="633790" cy="39611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0412DA-EBD7-8569-1175-50E3D515EB6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3955" y="3158657"/>
            <a:ext cx="396152" cy="3664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E1954F-3621-1EBD-580C-11A3A5CBF89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4830" y="4088565"/>
            <a:ext cx="718857" cy="3450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1827105-5CD7-11E1-9836-7A9404AC8961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16480" y="2964886"/>
            <a:ext cx="762321" cy="3586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4A38CAF-3C17-5297-D3D2-D54B6C8915C1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05062" y="1981362"/>
            <a:ext cx="833968" cy="305962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293A9A6F-A898-903D-D215-32509F4D2489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0054" y="4959290"/>
            <a:ext cx="819253" cy="15565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0B262765-BC13-9D6F-559A-F100D34D3D4E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16101" y="3678056"/>
            <a:ext cx="606064" cy="23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56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800"/>
            <a:ext cx="7395317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3000" b="0" i="0" baseline="0" dirty="0">
                <a:solidFill>
                  <a:srgbClr val="3366FF"/>
                </a:solidFill>
              </a:defRPr>
            </a:lvl1pPr>
          </a:lstStyle>
          <a:p>
            <a:pPr lvl="0"/>
            <a:r>
              <a:rPr lang="en-US" dirty="0"/>
              <a:t>Appendix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4264D4-317B-4406-0E9D-8DEB027A8E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5062" y="5137252"/>
            <a:ext cx="814736" cy="3059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8EE37A-2422-A86F-729B-5B7D9C6D4A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27" y="4216462"/>
            <a:ext cx="663210" cy="5296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D4ED124-F29B-282C-9F84-C24C2D907BB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317253" y="2421002"/>
            <a:ext cx="670193" cy="3227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797F9C4-914E-DC0F-82B3-E8B560F359B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9456" y="3550937"/>
            <a:ext cx="648702" cy="325052"/>
          </a:xfrm>
          <a:prstGeom prst="rect">
            <a:avLst/>
          </a:prstGeom>
        </p:spPr>
      </p:pic>
      <p:pic>
        <p:nvPicPr>
          <p:cNvPr id="7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F393F0C4-DCF2-7D14-C213-9DE50F5B7D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563" y="5392629"/>
            <a:ext cx="834236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35160A-7EE8-134D-4A30-AD3A1461958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39971" y="2147510"/>
            <a:ext cx="606064" cy="3794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A4312E9-EFAD-0041-8647-FCDF261C32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133792" y="2752294"/>
            <a:ext cx="631011" cy="2539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0D97D21-D5C4-9A59-B756-F0856003149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698332"/>
            <a:ext cx="592836" cy="1965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28EDDE9-9137-BD8C-4DE2-0DBC47DCE5FB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87703" y="5476257"/>
            <a:ext cx="633790" cy="3961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ED70638-64A3-E6E4-9F79-BDA22701787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3955" y="3158657"/>
            <a:ext cx="396152" cy="3664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0B8C71-9E4A-38B7-5406-6E00917DA2D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4830" y="4088565"/>
            <a:ext cx="718857" cy="34504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83AC33F-8F81-0DD6-930C-F3AC510A071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16480" y="2964886"/>
            <a:ext cx="762321" cy="3586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DDD5D35-CFB5-E798-1FB7-90824BF4F33F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05062" y="1981362"/>
            <a:ext cx="833968" cy="305962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453F3298-009E-9C25-146E-637B1A85BA5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0054" y="4959290"/>
            <a:ext cx="819253" cy="155658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67D797F-3DAA-DA4C-C2E8-64287730C81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16101" y="3678056"/>
            <a:ext cx="606064" cy="23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70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B3CAF3-C762-534F-ADB5-DB2B0740A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954688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B3CAF3-C762-534F-ADB5-DB2B0740A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05AA23E-9F3B-4705-91CC-5E7E5423DC7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9906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540000" y="108000"/>
            <a:ext cx="8543925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080000"/>
            <a:ext cx="90000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[Add text]</a:t>
            </a:r>
          </a:p>
          <a:p>
            <a:pPr lvl="2"/>
            <a:r>
              <a:rPr lang="en-US" dirty="0"/>
              <a:t>[Add text]</a:t>
            </a:r>
          </a:p>
          <a:p>
            <a:pPr lvl="3"/>
            <a:r>
              <a:rPr lang="en-US" dirty="0"/>
              <a:t>[Add text]</a:t>
            </a:r>
          </a:p>
        </p:txBody>
      </p:sp>
      <p:grpSp>
        <p:nvGrpSpPr>
          <p:cNvPr id="45" name="Graphic 3">
            <a:extLst>
              <a:ext uri="{FF2B5EF4-FFF2-40B4-BE49-F238E27FC236}">
                <a16:creationId xmlns:a16="http://schemas.microsoft.com/office/drawing/2014/main" id="{56B033C0-3928-468B-8CF6-1496F52E071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28000" y="20857"/>
            <a:ext cx="857650" cy="792366"/>
            <a:chOff x="66025" y="-34306"/>
            <a:chExt cx="6381750" cy="5895975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FFBD3D4-4671-45AB-B604-0CEAAC63B7C9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0E968C3-6094-4563-9C29-65EB27A50039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5A31E9F-A94F-45F8-BF93-D84A8C6DA807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2DB8481-8B23-479A-9514-240E6508D49C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0BC56EA-7519-4612-A39E-81EBB7DD740C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3C56C61-7E4E-4C7A-8C28-8EC4584AD35D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805347C-EEE8-4911-8713-96A3756D3ABD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B9ADC9D-67CE-485B-9843-09372F3614C1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7B7A1B4-FD2D-44A8-A32B-03E30BD09CF7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77E858F-FC3D-459D-84E3-39455C9A7343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D18E699-492E-4A0A-8F83-20CA3D9275C1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57D48E2-D36D-4C65-8FB4-4F27AF98A90F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CC95BA71-F64B-4E49-913A-83C7DB7E2B10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8EA42EC0-CC00-472D-9C59-C262992F99D9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8036831-E3F9-413C-82F8-1AAE8176253E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7E700EE-8996-4E37-AAEB-1EB990B7019B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6413D5FD-88A1-4E99-8BF3-01C6F0698E93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11FD7DF-3CC7-4E66-9DD8-A15D26C32876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533A543-785C-48BD-ADF0-7CBB79F446CD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DF251ECA-FFEA-4F2C-9464-2E5641CE9989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8B987F5-EBC0-43E8-B606-0AC7F7AE8A40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BAD3166-2690-4E5E-BEB1-1C4DA794B9C2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F5D6D0C-AA48-4000-8CF4-536B6532A88B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E9D3C97-CCCA-4A9A-A7CB-D3860EDBD247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EB67E3B8-E59E-4483-8281-B69EA50C41F3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A3E5852-F6AA-45E3-A2C0-3E71F79A6554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F4DA893-5D5A-4489-A2A8-083227624CFF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519E33-07A0-4069-ACAA-B67B710CD6A1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1C386AB-91B8-4AAD-8BEE-4DEC5D3BFA02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ADBE45A6-1754-4E48-8162-FDC37FDF368B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2F51B9B-4E03-4045-B10D-5D366682E2F4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1A71930-64E4-44CF-BCC5-2C1AA1D05337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7DB9E8EB-2B5D-4391-9D44-13E2D271D45A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A319A01-1506-48E7-8264-66BC09F1C34C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CC3D5D9-F647-479C-8F4E-492E0219DACE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22FCF579-D6C2-4B89-B667-A6F686154050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B5151B4-4356-44BA-84DE-1C04644E6D16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196E3EC-3083-4807-880D-1039E101BB0A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C6862D5D-B4FD-494B-8DB6-CCE1245FA70B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BDEF878B-2EEC-44BB-BEB4-3E3EBB217931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015E406B-7ED7-4D8F-8453-9FB621679AD5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FDA9CE58-0B13-4CCA-AEB4-660DF867DAE3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1C07194-EC3B-408A-AFC7-945F624F9FBE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6B2906E9-2D4B-4CB3-AE59-72F915171DA2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51D0CF0F-4233-4970-B46B-65DA292542AA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F365C1AE-BE6C-4275-82BA-282E4009909E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2B3D20F9-63D4-4DC8-9C2C-A0EE3A910E57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AC70116A-7652-4811-8D66-234C32436A2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B3880A1B-9EB4-45B9-9C91-A7B0300BDEE2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5BC2B00C-9F8A-4C22-AADA-E14BA6C13698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A918E8A8-378C-4B35-8CB9-04D03B86D1E2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28CF29-3142-8B4B-BA3F-FDB831D3C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999" y="6553200"/>
            <a:ext cx="334327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| DD/MM/YYYY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314487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32" r:id="rId1"/>
    <p:sldLayoutId id="2147488733" r:id="rId2"/>
    <p:sldLayoutId id="2147488734" r:id="rId3"/>
    <p:sldLayoutId id="2147488735" r:id="rId4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600" b="1" i="0">
          <a:solidFill>
            <a:srgbClr val="3366FF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84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67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51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34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rgbClr val="3366FF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85750" marR="0" indent="-285750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0100FE"/>
        </a:buClr>
        <a:buSzPct val="70000"/>
        <a:buFont typeface="Wingdings" panose="05000000000000000000" pitchFamily="2" charset="2"/>
        <a:buChar char="l"/>
        <a:tabLst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546100" indent="-2667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806450" indent="-2667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50" indent="-29210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00" indent="-31115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843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127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411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8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67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51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3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18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02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1985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269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0" userDrawn="1">
          <p15:clr>
            <a:srgbClr val="F26B43"/>
          </p15:clr>
        </p15:guide>
        <p15:guide id="2" pos="6000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pos="149" userDrawn="1">
          <p15:clr>
            <a:srgbClr val="F26B43"/>
          </p15:clr>
        </p15:guide>
        <p15:guide id="5" orient="horz" pos="41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32.png"/><Relationship Id="rId4" Type="http://schemas.openxmlformats.org/officeDocument/2006/relationships/image" Target="../media/image3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33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34.png"/><Relationship Id="rId4" Type="http://schemas.openxmlformats.org/officeDocument/2006/relationships/image" Target="../media/image3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35.png"/><Relationship Id="rId4" Type="http://schemas.openxmlformats.org/officeDocument/2006/relationships/image" Target="../media/image3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36.png"/><Relationship Id="rId4" Type="http://schemas.openxmlformats.org/officeDocument/2006/relationships/image" Target="../media/image3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jao.eu/sites/default/files/2023-06/Reading%20Guide_Operational%20KPIs_IDCC.pdf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hyperlink" Target="https://parallelrun-publicationtool.jao.eu/coreID/home" TargetMode="Externa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37.png"/><Relationship Id="rId4" Type="http://schemas.openxmlformats.org/officeDocument/2006/relationships/image" Target="../media/image3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38.png"/><Relationship Id="rId4" Type="http://schemas.openxmlformats.org/officeDocument/2006/relationships/image" Target="../media/image3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39.png"/><Relationship Id="rId4" Type="http://schemas.openxmlformats.org/officeDocument/2006/relationships/image" Target="../media/image30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40.png"/><Relationship Id="rId4" Type="http://schemas.openxmlformats.org/officeDocument/2006/relationships/image" Target="../media/image3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41.png"/><Relationship Id="rId4" Type="http://schemas.openxmlformats.org/officeDocument/2006/relationships/image" Target="../media/image30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42.png"/><Relationship Id="rId4" Type="http://schemas.openxmlformats.org/officeDocument/2006/relationships/image" Target="../media/image30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43.png"/><Relationship Id="rId4" Type="http://schemas.openxmlformats.org/officeDocument/2006/relationships/image" Target="../media/image30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5" Type="http://schemas.openxmlformats.org/officeDocument/2006/relationships/image" Target="../media/image44.png"/><Relationship Id="rId4" Type="http://schemas.openxmlformats.org/officeDocument/2006/relationships/image" Target="../media/image30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45.png"/><Relationship Id="rId4" Type="http://schemas.openxmlformats.org/officeDocument/2006/relationships/image" Target="../media/image30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46.png"/><Relationship Id="rId4" Type="http://schemas.openxmlformats.org/officeDocument/2006/relationships/image" Target="../media/image3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5" Type="http://schemas.openxmlformats.org/officeDocument/2006/relationships/image" Target="../media/image47.png"/><Relationship Id="rId4" Type="http://schemas.openxmlformats.org/officeDocument/2006/relationships/image" Target="../media/image30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48.png"/><Relationship Id="rId4" Type="http://schemas.openxmlformats.org/officeDocument/2006/relationships/image" Target="../media/image30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5" Type="http://schemas.openxmlformats.org/officeDocument/2006/relationships/image" Target="../media/image49.png"/><Relationship Id="rId4" Type="http://schemas.openxmlformats.org/officeDocument/2006/relationships/image" Target="../media/image30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5" Type="http://schemas.openxmlformats.org/officeDocument/2006/relationships/image" Target="../media/image50.png"/><Relationship Id="rId4" Type="http://schemas.openxmlformats.org/officeDocument/2006/relationships/image" Target="../media/image30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5" Type="http://schemas.openxmlformats.org/officeDocument/2006/relationships/image" Target="../media/image51.png"/><Relationship Id="rId4" Type="http://schemas.openxmlformats.org/officeDocument/2006/relationships/image" Target="../media/image30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5" Type="http://schemas.openxmlformats.org/officeDocument/2006/relationships/image" Target="../media/image52.png"/><Relationship Id="rId4" Type="http://schemas.openxmlformats.org/officeDocument/2006/relationships/image" Target="../media/image30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5" Type="http://schemas.openxmlformats.org/officeDocument/2006/relationships/image" Target="../media/image53.png"/><Relationship Id="rId4" Type="http://schemas.openxmlformats.org/officeDocument/2006/relationships/image" Target="../media/image30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5" Type="http://schemas.openxmlformats.org/officeDocument/2006/relationships/image" Target="../media/image54.png"/><Relationship Id="rId4" Type="http://schemas.openxmlformats.org/officeDocument/2006/relationships/image" Target="../media/image30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5" Type="http://schemas.openxmlformats.org/officeDocument/2006/relationships/image" Target="../media/image55.png"/><Relationship Id="rId4" Type="http://schemas.openxmlformats.org/officeDocument/2006/relationships/image" Target="../media/image30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Relationship Id="rId5" Type="http://schemas.openxmlformats.org/officeDocument/2006/relationships/image" Target="../media/image56.png"/><Relationship Id="rId4" Type="http://schemas.openxmlformats.org/officeDocument/2006/relationships/image" Target="../media/image3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7.xml"/><Relationship Id="rId5" Type="http://schemas.openxmlformats.org/officeDocument/2006/relationships/image" Target="../media/image57.png"/><Relationship Id="rId4" Type="http://schemas.openxmlformats.org/officeDocument/2006/relationships/image" Target="../media/image30.emf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8.xml"/><Relationship Id="rId5" Type="http://schemas.openxmlformats.org/officeDocument/2006/relationships/image" Target="../media/image59.png"/><Relationship Id="rId4" Type="http://schemas.openxmlformats.org/officeDocument/2006/relationships/image" Target="../media/image30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5" Type="http://schemas.openxmlformats.org/officeDocument/2006/relationships/image" Target="../media/image60.png"/><Relationship Id="rId4" Type="http://schemas.openxmlformats.org/officeDocument/2006/relationships/image" Target="../media/image30.emf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0.xml"/><Relationship Id="rId5" Type="http://schemas.openxmlformats.org/officeDocument/2006/relationships/image" Target="../media/image63.png"/><Relationship Id="rId4" Type="http://schemas.openxmlformats.org/officeDocument/2006/relationships/image" Target="../media/image62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1.xml"/><Relationship Id="rId5" Type="http://schemas.openxmlformats.org/officeDocument/2006/relationships/image" Target="../media/image64.png"/><Relationship Id="rId4" Type="http://schemas.openxmlformats.org/officeDocument/2006/relationships/image" Target="../media/image62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65.png"/><Relationship Id="rId4" Type="http://schemas.openxmlformats.org/officeDocument/2006/relationships/image" Target="../media/image62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Relationship Id="rId5" Type="http://schemas.openxmlformats.org/officeDocument/2006/relationships/image" Target="../media/image66.png"/><Relationship Id="rId4" Type="http://schemas.openxmlformats.org/officeDocument/2006/relationships/image" Target="../media/image62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4.xml"/><Relationship Id="rId5" Type="http://schemas.openxmlformats.org/officeDocument/2006/relationships/image" Target="../media/image67.png"/><Relationship Id="rId4" Type="http://schemas.openxmlformats.org/officeDocument/2006/relationships/image" Target="../media/image6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5.xml"/><Relationship Id="rId5" Type="http://schemas.openxmlformats.org/officeDocument/2006/relationships/image" Target="../media/image68.png"/><Relationship Id="rId4" Type="http://schemas.openxmlformats.org/officeDocument/2006/relationships/image" Target="../media/image62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Relationship Id="rId5" Type="http://schemas.openxmlformats.org/officeDocument/2006/relationships/image" Target="../media/image69.png"/><Relationship Id="rId4" Type="http://schemas.openxmlformats.org/officeDocument/2006/relationships/image" Target="../media/image62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7.xml"/><Relationship Id="rId5" Type="http://schemas.openxmlformats.org/officeDocument/2006/relationships/image" Target="../media/image70.png"/><Relationship Id="rId4" Type="http://schemas.openxmlformats.org/officeDocument/2006/relationships/image" Target="../media/image62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5" Type="http://schemas.openxmlformats.org/officeDocument/2006/relationships/image" Target="../media/image71.png"/><Relationship Id="rId4" Type="http://schemas.openxmlformats.org/officeDocument/2006/relationships/image" Target="../media/image62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5" Type="http://schemas.openxmlformats.org/officeDocument/2006/relationships/image" Target="../media/image72.png"/><Relationship Id="rId4" Type="http://schemas.openxmlformats.org/officeDocument/2006/relationships/image" Target="../media/image62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0.xml"/><Relationship Id="rId5" Type="http://schemas.openxmlformats.org/officeDocument/2006/relationships/image" Target="../media/image73.png"/><Relationship Id="rId4" Type="http://schemas.openxmlformats.org/officeDocument/2006/relationships/image" Target="../media/image62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1.xml"/><Relationship Id="rId5" Type="http://schemas.openxmlformats.org/officeDocument/2006/relationships/image" Target="../media/image74.png"/><Relationship Id="rId4" Type="http://schemas.openxmlformats.org/officeDocument/2006/relationships/image" Target="../media/image62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2.xml"/><Relationship Id="rId5" Type="http://schemas.openxmlformats.org/officeDocument/2006/relationships/image" Target="../media/image75.png"/><Relationship Id="rId4" Type="http://schemas.openxmlformats.org/officeDocument/2006/relationships/image" Target="../media/image62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3.xml"/><Relationship Id="rId5" Type="http://schemas.openxmlformats.org/officeDocument/2006/relationships/image" Target="../media/image76.png"/><Relationship Id="rId4" Type="http://schemas.openxmlformats.org/officeDocument/2006/relationships/image" Target="../media/image62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Relationship Id="rId5" Type="http://schemas.openxmlformats.org/officeDocument/2006/relationships/image" Target="../media/image77.png"/><Relationship Id="rId4" Type="http://schemas.openxmlformats.org/officeDocument/2006/relationships/image" Target="../media/image6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5.xml"/><Relationship Id="rId5" Type="http://schemas.openxmlformats.org/officeDocument/2006/relationships/image" Target="../media/image78.png"/><Relationship Id="rId4" Type="http://schemas.openxmlformats.org/officeDocument/2006/relationships/image" Target="../media/image62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.xml"/><Relationship Id="rId5" Type="http://schemas.openxmlformats.org/officeDocument/2006/relationships/image" Target="../media/image79.png"/><Relationship Id="rId4" Type="http://schemas.openxmlformats.org/officeDocument/2006/relationships/image" Target="../media/image62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7.xml"/><Relationship Id="rId5" Type="http://schemas.openxmlformats.org/officeDocument/2006/relationships/image" Target="../media/image80.png"/><Relationship Id="rId4" Type="http://schemas.openxmlformats.org/officeDocument/2006/relationships/image" Target="../media/image62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8.xml"/><Relationship Id="rId5" Type="http://schemas.openxmlformats.org/officeDocument/2006/relationships/image" Target="../media/image81.png"/><Relationship Id="rId4" Type="http://schemas.openxmlformats.org/officeDocument/2006/relationships/image" Target="../media/image62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5" Type="http://schemas.openxmlformats.org/officeDocument/2006/relationships/image" Target="../media/image82.png"/><Relationship Id="rId4" Type="http://schemas.openxmlformats.org/officeDocument/2006/relationships/image" Target="../media/image62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0.xml"/><Relationship Id="rId5" Type="http://schemas.openxmlformats.org/officeDocument/2006/relationships/image" Target="../media/image83.png"/><Relationship Id="rId4" Type="http://schemas.openxmlformats.org/officeDocument/2006/relationships/image" Target="../media/image6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3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25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External Parallel Run </a:t>
            </a:r>
            <a:r>
              <a:rPr lang="sk-SK" dirty="0"/>
              <a:t>KPI Report</a:t>
            </a:r>
            <a:endParaRPr lang="nl-NL" dirty="0"/>
          </a:p>
          <a:p>
            <a:r>
              <a:rPr lang="sk-SK" dirty="0"/>
              <a:t>01/</a:t>
            </a:r>
            <a:r>
              <a:rPr lang="fr-BE" dirty="0"/>
              <a:t>12</a:t>
            </a:r>
            <a:r>
              <a:rPr lang="sk-SK" dirty="0"/>
              <a:t>/2023 – </a:t>
            </a:r>
            <a:r>
              <a:rPr lang="en-GB" dirty="0"/>
              <a:t>29</a:t>
            </a:r>
            <a:r>
              <a:rPr lang="sk-SK" dirty="0"/>
              <a:t>/</a:t>
            </a:r>
            <a:r>
              <a:rPr lang="fr-BE" dirty="0"/>
              <a:t>02/</a:t>
            </a:r>
            <a:r>
              <a:rPr lang="sk-SK" dirty="0"/>
              <a:t>202</a:t>
            </a:r>
            <a:r>
              <a:rPr lang="en-GB" dirty="0"/>
              <a:t>4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nl-NL" dirty="0"/>
              <a:t>Core IDCC(b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7756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B30014B-7761-4CC6-87BD-DEF6DFC3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781F92F7-211B-49A7-9669-D729AE8737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8" name="Picture 7" descr="A graph with orange lines&#10;&#10;Description automatically generated with medium confidence">
            <a:extLst>
              <a:ext uri="{FF2B5EF4-FFF2-40B4-BE49-F238E27FC236}">
                <a16:creationId xmlns:a16="http://schemas.microsoft.com/office/drawing/2014/main" id="{880CA417-D33C-A329-8E5B-60B84D136B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875" y="1052513"/>
            <a:ext cx="9001125" cy="558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477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5CB8A97-92B1-48FF-AFC0-C3294457DC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942D9D94-B85A-4C5A-AC0E-FDADC30810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8" name="Picture 7" descr="A graph with orange and white lines&#10;&#10;Description automatically generated">
            <a:extLst>
              <a:ext uri="{FF2B5EF4-FFF2-40B4-BE49-F238E27FC236}">
                <a16:creationId xmlns:a16="http://schemas.microsoft.com/office/drawing/2014/main" id="{7026DD18-EA9C-2082-605E-31B27F5A16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351" y="1052513"/>
            <a:ext cx="9132202" cy="550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979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C71732C-09B6-4BBA-BAED-6DA893868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F230601-B994-4F15-9527-50791F9A37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8" name="Picture 7" descr="A graph of a graph">
            <a:extLst>
              <a:ext uri="{FF2B5EF4-FFF2-40B4-BE49-F238E27FC236}">
                <a16:creationId xmlns:a16="http://schemas.microsoft.com/office/drawing/2014/main" id="{8BA42686-2FE7-C24B-CA71-A2564AC35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452" y="1052513"/>
            <a:ext cx="9026013" cy="550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8163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2AB1051-A329-495E-A053-4C9FF48DA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3FECC066-DFF0-442F-B33A-CCD8FD309E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11" name="Picture 10" descr="A graph with orange squares&#10;&#10;Description automatically generated">
            <a:extLst>
              <a:ext uri="{FF2B5EF4-FFF2-40B4-BE49-F238E27FC236}">
                <a16:creationId xmlns:a16="http://schemas.microsoft.com/office/drawing/2014/main" id="{1C9EDDC5-EED6-9F2B-D080-73442E20BC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875" y="1052513"/>
            <a:ext cx="9001126" cy="5500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4413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D24D323-C07F-982B-F2FB-A7F2DB0036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316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aph with orange and white lines&#10;&#10;Description automatically generated">
            <a:extLst>
              <a:ext uri="{FF2B5EF4-FFF2-40B4-BE49-F238E27FC236}">
                <a16:creationId xmlns:a16="http://schemas.microsoft.com/office/drawing/2014/main" id="{02C8EF61-DBA9-E310-8B6C-1A92EC67B1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874" y="843415"/>
            <a:ext cx="9382125" cy="5709786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48851106-4E2D-4DEF-BB72-2D96A57D9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4FC6031-B3DA-40BC-B5D7-660FD3B4F4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9591474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F0932E3-E5C0-6748-CACC-640490E2A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754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aph with orange and black lines&#10;&#10;Description automatically generated with medium confidence">
            <a:extLst>
              <a:ext uri="{FF2B5EF4-FFF2-40B4-BE49-F238E27FC236}">
                <a16:creationId xmlns:a16="http://schemas.microsoft.com/office/drawing/2014/main" id="{BDB05D34-AD0A-7F08-D469-6FAC0E4C41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9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DC094EEA-0DF3-4310-9115-A8F2FFF5D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EA0DE8D1-36C4-47F9-8E1A-296185374F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4878780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6FFAC32-30A4-E500-A87D-2CC8203245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11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aph with orange and white lines&#10;&#10;Description automatically generated with medium confidence">
            <a:extLst>
              <a:ext uri="{FF2B5EF4-FFF2-40B4-BE49-F238E27FC236}">
                <a16:creationId xmlns:a16="http://schemas.microsoft.com/office/drawing/2014/main" id="{143CAD3F-11F7-E05D-0876-1D64ED4BE4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37433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DF019515-21D0-4670-A15E-D82FC6576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3BE7C3B-FCE2-4076-9D41-6C0F996A570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05787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A9BAA62-A6EE-F2B5-CCA4-3C215AB478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87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F6908318-587A-9EF5-84E6-D5E7221492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23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B686E5F9-32E1-4C7B-A9C6-87774C19C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BD7056B4-36FA-450A-B7CD-16E6227DD1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377885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A10F2E8-01C6-12A8-0788-DAD81483E3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353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graph with orange squares&#10;&#10;Description automatically generated">
            <a:extLst>
              <a:ext uri="{FF2B5EF4-FFF2-40B4-BE49-F238E27FC236}">
                <a16:creationId xmlns:a16="http://schemas.microsoft.com/office/drawing/2014/main" id="{861657B0-6421-4324-856B-26E40E901E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0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F5947BB-B23D-46DB-ABEC-D425F3B9D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472F86E5-291D-4AB4-9E73-787D4E11DB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314D6E-3AA6-55D7-E3EA-C13FF77554AB}"/>
              </a:ext>
            </a:extLst>
          </p:cNvPr>
          <p:cNvSpPr txBox="1"/>
          <p:nvPr/>
        </p:nvSpPr>
        <p:spPr>
          <a:xfrm>
            <a:off x="4196977" y="134102"/>
            <a:ext cx="4570505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en-US" sz="800" b="1" dirty="0"/>
              <a:t>Disclaimer - </a:t>
            </a:r>
            <a:r>
              <a:rPr lang="en-US" sz="800" dirty="0"/>
              <a:t>Results of the French TSO for KPI 6 (Limiting constraints of the ATC domain) should be interpreted with care, due to the dynamically changing FR CBCO ID. This is expected to be implemented in Q1 2024.</a:t>
            </a:r>
          </a:p>
        </p:txBody>
      </p:sp>
    </p:spTree>
    <p:extLst>
      <p:ext uri="{BB962C8B-B14F-4D97-AF65-F5344CB8AC3E}">
        <p14:creationId xmlns:p14="http://schemas.microsoft.com/office/powerpoint/2010/main" val="32412096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76CBE6-55DA-0343-E0B9-2161699EC0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25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diagram with orange squares&#10;&#10;Description automatically generated">
            <a:extLst>
              <a:ext uri="{FF2B5EF4-FFF2-40B4-BE49-F238E27FC236}">
                <a16:creationId xmlns:a16="http://schemas.microsoft.com/office/drawing/2014/main" id="{51E216FC-A1BB-57B1-9874-44271DBAFA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1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6512656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arallel Run KPIs</a:t>
            </a:r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ED7675-6667-D24B-91BC-481190D00DC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3366FF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" panose="020B0604020202020204" pitchFamily="34" charset="0"/>
              </a:rPr>
              <a:t>Context</a:t>
            </a:r>
          </a:p>
          <a:p>
            <a:pPr lvl="1"/>
            <a:r>
              <a:rPr lang="en-US" sz="1200" dirty="0">
                <a:ea typeface="Arial Unicode MS"/>
                <a:cs typeface="Arial"/>
              </a:rPr>
              <a:t>According to Article 2</a:t>
            </a:r>
            <a:r>
              <a:rPr lang="sk-SK" sz="1200" dirty="0">
                <a:ea typeface="Arial Unicode MS"/>
                <a:cs typeface="Arial"/>
              </a:rPr>
              <a:t>6</a:t>
            </a:r>
            <a:r>
              <a:rPr lang="en-US" sz="1200" dirty="0">
                <a:ea typeface="Arial Unicode MS"/>
                <a:cs typeface="Arial"/>
              </a:rPr>
              <a:t>(4) of the Core FB </a:t>
            </a:r>
            <a:r>
              <a:rPr lang="sk-SK" sz="1200" dirty="0">
                <a:ea typeface="Arial Unicode MS"/>
                <a:cs typeface="Arial"/>
              </a:rPr>
              <a:t>ID</a:t>
            </a:r>
            <a:r>
              <a:rPr lang="en-US" sz="1200" dirty="0">
                <a:ea typeface="Arial Unicode MS"/>
                <a:cs typeface="Arial"/>
              </a:rPr>
              <a:t> CCM, Core TSOs</a:t>
            </a:r>
            <a:r>
              <a:rPr lang="en-US" dirty="0">
                <a:ea typeface="Arial Unicode MS"/>
                <a:cs typeface="Arial"/>
              </a:rPr>
              <a:t> shall:</a:t>
            </a:r>
            <a:endParaRPr lang="en-US" sz="1200" dirty="0">
              <a:ea typeface="Arial Unicode MS"/>
              <a:cs typeface="Arial"/>
            </a:endParaRPr>
          </a:p>
          <a:p>
            <a:pPr lvl="2"/>
            <a:r>
              <a:rPr lang="en-US" dirty="0">
                <a:ea typeface="Arial Unicode MS"/>
                <a:cs typeface="Arial"/>
              </a:rPr>
              <a:t>continuously</a:t>
            </a:r>
            <a:r>
              <a:rPr lang="en-US" sz="1200" dirty="0">
                <a:ea typeface="Arial Unicode MS"/>
                <a:cs typeface="Arial"/>
              </a:rPr>
              <a:t> monitor the effects and the performance of the application of this methodology during the parallel run</a:t>
            </a:r>
          </a:p>
          <a:p>
            <a:pPr lvl="2"/>
            <a:r>
              <a:rPr lang="en-US" sz="1200" dirty="0">
                <a:ea typeface="Arial Unicode MS"/>
                <a:cs typeface="Arial"/>
              </a:rPr>
              <a:t>develop, in coordination with the Core regulatory authorities, the Agency and stakeholders, the monitoring and performance criteria and report on the outcome of this monitoring on quarterly basis in a report</a:t>
            </a:r>
          </a:p>
          <a:p>
            <a:pPr lvl="1">
              <a:defRPr/>
            </a:pPr>
            <a:endParaRPr lang="sk-SK" dirty="0">
              <a:ea typeface="Arial Unicode MS"/>
              <a:cs typeface="Arial"/>
            </a:endParaRPr>
          </a:p>
          <a:p>
            <a:pPr lvl="1">
              <a:defRPr/>
            </a:pPr>
            <a:r>
              <a:rPr lang="en-US" dirty="0">
                <a:ea typeface="Arial Unicode MS"/>
                <a:cs typeface="Arial"/>
              </a:rPr>
              <a:t>IDCC external // run started on 5th of December 2022. Since this business day, results of capacity calculation have been published on JAO website</a:t>
            </a:r>
            <a:r>
              <a:rPr lang="sk-SK" dirty="0">
                <a:ea typeface="Arial Unicode MS"/>
                <a:cs typeface="Arial"/>
              </a:rPr>
              <a:t> [</a:t>
            </a:r>
            <a:r>
              <a:rPr lang="sk-SK" dirty="0">
                <a:ea typeface="Arial Unicode MS"/>
                <a:cs typeface="Arial"/>
                <a:hlinkClick r:id="rId6"/>
              </a:rPr>
              <a:t>LINK</a:t>
            </a:r>
            <a:r>
              <a:rPr lang="sk-SK" dirty="0">
                <a:ea typeface="Arial Unicode MS"/>
                <a:cs typeface="Arial"/>
              </a:rPr>
              <a:t>]</a:t>
            </a:r>
            <a:endParaRPr kumimoji="0" lang="sk-SK" sz="1400" b="0" i="0" u="none" strike="noStrike" kern="0" cap="none" spc="0" normalizeH="0" baseline="0" noProof="0" dirty="0">
              <a:ln>
                <a:noFill/>
              </a:ln>
              <a:solidFill>
                <a:srgbClr val="3366FF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sk-SK" dirty="0">
              <a:latin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366FF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" panose="020B0604020202020204" pitchFamily="34" charset="0"/>
              </a:rPr>
              <a:t>On the next slide the overview of the KPIs covered</a:t>
            </a:r>
            <a:r>
              <a:rPr lang="en-US" dirty="0">
                <a:latin typeface="Arial"/>
              </a:rPr>
              <a:t> in this KPI report is provided.</a:t>
            </a:r>
            <a:endParaRPr lang="sk-SK" dirty="0">
              <a:latin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sk-SK" dirty="0">
              <a:latin typeface="Arial"/>
            </a:endParaRPr>
          </a:p>
          <a:p>
            <a:pPr marL="0" lvl="1" indent="0">
              <a:buNone/>
              <a:defRPr/>
            </a:pPr>
            <a:r>
              <a:rPr lang="en-US" sz="1400" dirty="0">
                <a:solidFill>
                  <a:srgbClr val="3366FF"/>
                </a:solidFill>
                <a:latin typeface="Arial"/>
              </a:rPr>
              <a:t>A Reading Guide with a detail description of the KPIs is also available on JAO [</a:t>
            </a:r>
            <a:r>
              <a:rPr lang="en-US" sz="1400" dirty="0">
                <a:solidFill>
                  <a:srgbClr val="3366FF"/>
                </a:solidFill>
                <a:latin typeface="Arial"/>
                <a:hlinkClick r:id="rId7"/>
              </a:rPr>
              <a:t>LINK</a:t>
            </a:r>
            <a:r>
              <a:rPr lang="en-US" sz="1400" dirty="0">
                <a:solidFill>
                  <a:srgbClr val="3366FF"/>
                </a:solidFill>
                <a:latin typeface="Arial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934731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55D54F6-BCF5-B017-9AB7-D5F01E975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844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with orange squares&#10;&#10;Description automatically generated">
            <a:extLst>
              <a:ext uri="{FF2B5EF4-FFF2-40B4-BE49-F238E27FC236}">
                <a16:creationId xmlns:a16="http://schemas.microsoft.com/office/drawing/2014/main" id="{2A1593F9-4BB6-B2C8-6AC3-CC008B0F37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37437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2115632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AB97D7-C764-7C38-E914-FC99DC11C1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921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aph with orange and black lines&#10;&#10;Description automatically generated">
            <a:extLst>
              <a:ext uri="{FF2B5EF4-FFF2-40B4-BE49-F238E27FC236}">
                <a16:creationId xmlns:a16="http://schemas.microsoft.com/office/drawing/2014/main" id="{C81874A0-FAB1-453D-CDA6-94FAF7A145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37436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4595322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88DEFB-BDE3-B0A0-2C9E-1D6A2F1B3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331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with orange and white lines&#10;&#10;Description automatically generated">
            <a:extLst>
              <a:ext uri="{FF2B5EF4-FFF2-40B4-BE49-F238E27FC236}">
                <a16:creationId xmlns:a16="http://schemas.microsoft.com/office/drawing/2014/main" id="{A3B53AC2-1410-03A8-2673-F2EB9D1A78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6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0022824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FCC9C8A-57A3-8D42-A5B0-3F17B2C51E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417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with orange squares&#10;&#10;Description automatically generated">
            <a:extLst>
              <a:ext uri="{FF2B5EF4-FFF2-40B4-BE49-F238E27FC236}">
                <a16:creationId xmlns:a16="http://schemas.microsoft.com/office/drawing/2014/main" id="{EF224A50-E021-7021-8093-94CEE855F6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31462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4627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5DF5ABB-03B8-5947-B6E1-C40515C1D8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07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graph with orange squares&#10;&#10;Description automatically generated">
            <a:extLst>
              <a:ext uri="{FF2B5EF4-FFF2-40B4-BE49-F238E27FC236}">
                <a16:creationId xmlns:a16="http://schemas.microsoft.com/office/drawing/2014/main" id="{8AB1DF7A-BC9B-FBD6-8964-C21A5810FA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2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2182497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5A8A4B3-0F58-4898-95C8-6F2E529E79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76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graph with orange squares&#10;&#10;Description automatically generated">
            <a:extLst>
              <a:ext uri="{FF2B5EF4-FFF2-40B4-BE49-F238E27FC236}">
                <a16:creationId xmlns:a16="http://schemas.microsoft.com/office/drawing/2014/main" id="{28AA2365-C0FC-FE29-7527-C8A1A409EE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4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53911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397F294-6612-A2D8-8ABA-4E5DBEC3A5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38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screenshot of a graph&#10;&#10;Description automatically generated">
            <a:extLst>
              <a:ext uri="{FF2B5EF4-FFF2-40B4-BE49-F238E27FC236}">
                <a16:creationId xmlns:a16="http://schemas.microsoft.com/office/drawing/2014/main" id="{4C511640-439A-39A1-BC71-155DB71A09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37437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585379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C1B6C71-C635-55E4-E89D-0914FB5413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7598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with red lines&#10;&#10;Description automatically generated">
            <a:extLst>
              <a:ext uri="{FF2B5EF4-FFF2-40B4-BE49-F238E27FC236}">
                <a16:creationId xmlns:a16="http://schemas.microsoft.com/office/drawing/2014/main" id="{10EE3E5C-1EAA-53C5-55FE-0E6F39D9DA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37430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6309231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CACE31-833C-F434-B719-E916086FD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367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graph with red lines&#10;&#10;Description automatically generated">
            <a:extLst>
              <a:ext uri="{FF2B5EF4-FFF2-40B4-BE49-F238E27FC236}">
                <a16:creationId xmlns:a16="http://schemas.microsoft.com/office/drawing/2014/main" id="{9BC4C1C3-4E99-8BC9-7A04-36F23AAD76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31462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405540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C222C63-8403-75BB-0C7E-E70FB9DA62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652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with red lines&#10;&#10;Description automatically generated">
            <a:extLst>
              <a:ext uri="{FF2B5EF4-FFF2-40B4-BE49-F238E27FC236}">
                <a16:creationId xmlns:a16="http://schemas.microsoft.com/office/drawing/2014/main" id="{4B9B794D-5DBB-9176-A9AB-F5CF34F51D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0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38484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arallel Run KPIs</a:t>
            </a:r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3366FF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" panose="020B0604020202020204" pitchFamily="34" charset="0"/>
              </a:rPr>
              <a:t>Overview of parallel run KPI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ED7675-6667-D24B-91BC-481190D00DC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0000" y="1080000"/>
            <a:ext cx="9000000" cy="5316350"/>
          </a:xfrm>
        </p:spPr>
        <p:txBody>
          <a:bodyPr/>
          <a:lstStyle/>
          <a:p>
            <a:pPr>
              <a:defRPr/>
            </a:pPr>
            <a:r>
              <a:rPr lang="en-US" dirty="0">
                <a:latin typeface="Arial"/>
              </a:rPr>
              <a:t>ATC related KPIs</a:t>
            </a:r>
          </a:p>
          <a:p>
            <a:pPr marL="508000" lvl="2" indent="-228600" fontAlgn="ctr">
              <a:buAutoNum type="arabicPeriod"/>
            </a:pPr>
            <a:r>
              <a:rPr lang="en-US" dirty="0"/>
              <a:t>Duration curve of Core oriented bidding zone borders with simultaneous zero (or negative) ID ATCs​</a:t>
            </a:r>
          </a:p>
          <a:p>
            <a:pPr marL="508000" lvl="2" indent="-228600" fontAlgn="ctr">
              <a:buAutoNum type="arabicPeriod"/>
            </a:pPr>
            <a:r>
              <a:rPr lang="en-US" dirty="0"/>
              <a:t>Frequency of zero </a:t>
            </a:r>
            <a:r>
              <a:rPr lang="sk-SK" dirty="0"/>
              <a:t>and </a:t>
            </a:r>
            <a:r>
              <a:rPr lang="en-US" dirty="0"/>
              <a:t>negative ID ATCs by oriented Core bidding zone border, and Core average​</a:t>
            </a:r>
          </a:p>
          <a:p>
            <a:pPr marL="508000" lvl="2" indent="-228600" fontAlgn="ctr">
              <a:buAutoNum type="arabicPeriod"/>
            </a:pPr>
            <a:r>
              <a:rPr lang="en-US" dirty="0"/>
              <a:t>Frequency of isolated BZs of zero (or negative) ID ATCs in import, export and both directions​</a:t>
            </a:r>
          </a:p>
          <a:p>
            <a:pPr marL="508000" lvl="2" indent="-228600" fontAlgn="ctr">
              <a:buFont typeface="Wingdings" panose="05000000000000000000" pitchFamily="2" charset="2"/>
              <a:buAutoNum type="arabicPeriod"/>
            </a:pPr>
            <a:r>
              <a:rPr lang="en-US" dirty="0"/>
              <a:t>Mean positive ID ATCs by oriented Core bidding zone border, and Core average​</a:t>
            </a:r>
          </a:p>
          <a:p>
            <a:pPr marL="279400" lvl="2" indent="0" fontAlgn="ctr">
              <a:buNone/>
            </a:pPr>
            <a:endParaRPr lang="en-US" sz="1100" dirty="0">
              <a:solidFill>
                <a:srgbClr val="3366FF"/>
              </a:solidFill>
              <a:latin typeface="Arial Unicode MS" charset="0"/>
              <a:ea typeface="ＭＳ Ｐゴシック" charset="0"/>
            </a:endParaRPr>
          </a:p>
          <a:p>
            <a:pPr marL="0" lvl="2" indent="0">
              <a:buSzPct val="100000"/>
              <a:buNone/>
              <a:defRPr/>
            </a:pPr>
            <a:r>
              <a:rPr lang="en-US" sz="1400" dirty="0">
                <a:solidFill>
                  <a:srgbClr val="3366FF"/>
                </a:solidFill>
                <a:latin typeface="Arial"/>
              </a:rPr>
              <a:t>TSOs’ adjustment after validation</a:t>
            </a:r>
          </a:p>
          <a:p>
            <a:pPr marL="508000" lvl="2" indent="-228600" fontAlgn="ctr">
              <a:buFont typeface="+mj-lt"/>
              <a:buAutoNum type="arabicPeriod" startAt="5"/>
            </a:pPr>
            <a:r>
              <a:rPr lang="en-US" dirty="0"/>
              <a:t>Share of MTUs with intervention per TSO</a:t>
            </a:r>
          </a:p>
          <a:p>
            <a:pPr marL="279400" lvl="2" indent="0" fontAlgn="ctr">
              <a:buNone/>
            </a:pPr>
            <a:endParaRPr lang="en-US" sz="1100" dirty="0">
              <a:solidFill>
                <a:srgbClr val="3366FF"/>
              </a:solidFill>
              <a:latin typeface="Arial Unicode MS" charset="0"/>
              <a:ea typeface="ＭＳ Ｐゴシック" charset="0"/>
            </a:endParaRPr>
          </a:p>
          <a:p>
            <a:pPr marL="0" lvl="2" indent="0">
              <a:buSzPct val="100000"/>
              <a:buNone/>
              <a:defRPr/>
            </a:pPr>
            <a:r>
              <a:rPr lang="en-US" sz="1400" dirty="0">
                <a:solidFill>
                  <a:srgbClr val="3366FF"/>
                </a:solidFill>
                <a:latin typeface="Arial"/>
              </a:rPr>
              <a:t>Limiting elements</a:t>
            </a:r>
          </a:p>
          <a:p>
            <a:pPr marL="508000" lvl="2" indent="-228600" fontAlgn="ctr">
              <a:buFont typeface="+mj-lt"/>
              <a:buAutoNum type="arabicPeriod" startAt="6"/>
            </a:pPr>
            <a:r>
              <a:rPr lang="en-US" dirty="0"/>
              <a:t>Limiting constraints of the ATC domain​</a:t>
            </a:r>
          </a:p>
          <a:p>
            <a:pPr marL="508000" lvl="2" indent="-228600" fontAlgn="ctr">
              <a:buFont typeface="+mj-lt"/>
              <a:buAutoNum type="arabicPeriod" startAt="6"/>
            </a:pPr>
            <a:r>
              <a:rPr lang="en-US" dirty="0">
                <a:ea typeface="Arial Unicode MS"/>
                <a:cs typeface="Arial"/>
              </a:rPr>
              <a:t>Most often pre-solved CNECs​</a:t>
            </a:r>
            <a:endParaRPr lang="sk-SK" dirty="0">
              <a:ea typeface="Arial Unicode MS"/>
              <a:cs typeface="Arial"/>
            </a:endParaRPr>
          </a:p>
          <a:p>
            <a:pPr marL="508000" lvl="2" indent="-228600" fontAlgn="ctr">
              <a:buFont typeface="+mj-lt"/>
              <a:buAutoNum type="arabicPeriod" startAt="6"/>
            </a:pPr>
            <a:endParaRPr lang="sk-SK" dirty="0">
              <a:ea typeface="Arial Unicode MS"/>
              <a:cs typeface="Arial"/>
            </a:endParaRPr>
          </a:p>
          <a:p>
            <a:pPr marL="0" lvl="2" indent="0">
              <a:buSzPct val="100000"/>
              <a:buNone/>
              <a:defRPr/>
            </a:pPr>
            <a:r>
              <a:rPr lang="en-US" sz="1400" dirty="0">
                <a:solidFill>
                  <a:srgbClr val="3366FF"/>
                </a:solidFill>
                <a:latin typeface="Arial"/>
              </a:rPr>
              <a:t>Net positions</a:t>
            </a:r>
          </a:p>
          <a:p>
            <a:pPr marL="508000" lvl="2" indent="-228600" fontAlgn="ctr">
              <a:buFont typeface="+mj-lt"/>
              <a:buAutoNum type="arabicPeriod" startAt="8"/>
            </a:pPr>
            <a:r>
              <a:rPr lang="en-US" dirty="0"/>
              <a:t>Min/Max Net Positions​</a:t>
            </a:r>
            <a:endParaRPr lang="sk-SK" dirty="0"/>
          </a:p>
          <a:p>
            <a:pPr marL="768350" lvl="3" indent="-228600" fontAlgn="ctr">
              <a:buSzPct val="70000"/>
              <a:buFont typeface="+mj-lt"/>
              <a:buAutoNum type="alphaLcParenR"/>
            </a:pPr>
            <a:r>
              <a:rPr lang="en-US" dirty="0"/>
              <a:t>Based on final FB domain</a:t>
            </a:r>
          </a:p>
          <a:p>
            <a:pPr marL="768350" lvl="3" indent="-228600" fontAlgn="ctr">
              <a:buSzPct val="70000"/>
              <a:buFont typeface="+mj-lt"/>
              <a:buAutoNum type="alphaLcParenR"/>
            </a:pPr>
            <a:r>
              <a:rPr lang="en-US" dirty="0"/>
              <a:t>Based on final ID ATC</a:t>
            </a:r>
          </a:p>
        </p:txBody>
      </p:sp>
    </p:spTree>
    <p:extLst>
      <p:ext uri="{BB962C8B-B14F-4D97-AF65-F5344CB8AC3E}">
        <p14:creationId xmlns:p14="http://schemas.microsoft.com/office/powerpoint/2010/main" val="25631628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30DB5F0-49DA-C114-B36F-BCB671B3D5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5302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DEDBDD59-6657-7935-4A5D-67BF8ADA58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37435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2503060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26308EB-73AE-BE4D-6750-A289B3A43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712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red rectangular object on a white background&#10;&#10;Description automatically generated">
            <a:extLst>
              <a:ext uri="{FF2B5EF4-FFF2-40B4-BE49-F238E27FC236}">
                <a16:creationId xmlns:a16="http://schemas.microsoft.com/office/drawing/2014/main" id="{EE600D52-F2B4-9CF3-E3FF-D47085E921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37444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2170036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044C40A-4BF4-D8E2-73DE-D22EF53588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21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aph with red lines&#10;&#10;Description automatically generated">
            <a:extLst>
              <a:ext uri="{FF2B5EF4-FFF2-40B4-BE49-F238E27FC236}">
                <a16:creationId xmlns:a16="http://schemas.microsoft.com/office/drawing/2014/main" id="{8CD9F249-3FA8-9296-6A2A-4D72EB1AA6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3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724312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B3E2CE4-7615-ED34-339C-107FBAE8A2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0456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graph with red lines&#10;&#10;Description automatically generated">
            <a:extLst>
              <a:ext uri="{FF2B5EF4-FFF2-40B4-BE49-F238E27FC236}">
                <a16:creationId xmlns:a16="http://schemas.microsoft.com/office/drawing/2014/main" id="{530B5970-1336-181C-2C2D-0053D46EAB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6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4781218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7176D6C-AA5A-3B9D-51EA-F1B6635CD1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874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with red squares&#10;&#10;Description automatically generated">
            <a:extLst>
              <a:ext uri="{FF2B5EF4-FFF2-40B4-BE49-F238E27FC236}">
                <a16:creationId xmlns:a16="http://schemas.microsoft.com/office/drawing/2014/main" id="{CE5E60E0-4861-70AB-0618-2AD5A772EC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1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1488900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F7436CB-ABAA-F3FC-6ED1-CDA901AD43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823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of a bar graph&#10;&#10;Description automatically generated with medium confidence">
            <a:extLst>
              <a:ext uri="{FF2B5EF4-FFF2-40B4-BE49-F238E27FC236}">
                <a16:creationId xmlns:a16="http://schemas.microsoft.com/office/drawing/2014/main" id="{8E5B838E-20F0-EDC0-C66A-9EE4203823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5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8010159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DBEC76-9E64-8D01-705F-C2D1E28C92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131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graph of red lines&#10;&#10;Description automatically generated with medium confidence">
            <a:extLst>
              <a:ext uri="{FF2B5EF4-FFF2-40B4-BE49-F238E27FC236}">
                <a16:creationId xmlns:a16="http://schemas.microsoft.com/office/drawing/2014/main" id="{80F75DAF-5820-E72F-010E-125FE08708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3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329334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ADD52C7-7958-25CE-212E-F2BF6B0D84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007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of red lines&#10;&#10;Description automatically generated with medium confidence">
            <a:extLst>
              <a:ext uri="{FF2B5EF4-FFF2-40B4-BE49-F238E27FC236}">
                <a16:creationId xmlns:a16="http://schemas.microsoft.com/office/drawing/2014/main" id="{DF0E6BAC-917E-1A46-EC43-2ACDBB132B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1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190119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F3C5797-1506-D496-343B-A6C3ACFBF5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590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with red lines&#10;&#10;Description automatically generated">
            <a:extLst>
              <a:ext uri="{FF2B5EF4-FFF2-40B4-BE49-F238E27FC236}">
                <a16:creationId xmlns:a16="http://schemas.microsoft.com/office/drawing/2014/main" id="{3BC49605-F4F5-1435-D133-F2A566A298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4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6925762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1445433-8561-8E17-0D7B-CDBAFABD1D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137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of red lines&#10;&#10;Description automatically generated with medium confidence">
            <a:extLst>
              <a:ext uri="{FF2B5EF4-FFF2-40B4-BE49-F238E27FC236}">
                <a16:creationId xmlns:a16="http://schemas.microsoft.com/office/drawing/2014/main" id="{89D63FBA-106F-1226-BD38-9110A6F7E4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5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934910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Parallel Run KPIs</a:t>
            </a:r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en-US" dirty="0"/>
              <a:t>Reporting period and limit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ED7675-6667-D24B-91BC-481190D00DC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0000" y="1080000"/>
            <a:ext cx="9000000" cy="4320000"/>
          </a:xfrm>
        </p:spPr>
        <p:txBody>
          <a:bodyPr vert="horz" lIns="91440" tIns="45720" rIns="91440" bIns="45720" rtlCol="0" anchor="t">
            <a:noAutofit/>
          </a:bodyPr>
          <a:lstStyle/>
          <a:p>
            <a:pPr lvl="0"/>
            <a:r>
              <a:rPr lang="en-US" dirty="0"/>
              <a:t>Reporting period</a:t>
            </a:r>
          </a:p>
          <a:p>
            <a:pPr lvl="1"/>
            <a:r>
              <a:rPr lang="en-US" dirty="0">
                <a:ea typeface="Arial Unicode MS"/>
                <a:cs typeface="Arial"/>
              </a:rPr>
              <a:t>This KPI report covers three months (December – February) of IDCC </a:t>
            </a:r>
            <a:r>
              <a:rPr lang="en-US" dirty="0" err="1">
                <a:ea typeface="Arial Unicode MS"/>
                <a:cs typeface="Arial"/>
              </a:rPr>
              <a:t>ext</a:t>
            </a:r>
            <a:r>
              <a:rPr lang="en-US" dirty="0">
                <a:ea typeface="Arial Unicode MS"/>
                <a:cs typeface="Arial"/>
              </a:rPr>
              <a:t>//run in Core region, i.e. period 01/12/2023 – 29/02/2024.</a:t>
            </a:r>
          </a:p>
          <a:p>
            <a:pPr lvl="1"/>
            <a:r>
              <a:rPr lang="en-US" dirty="0">
                <a:ea typeface="Arial Unicode MS"/>
                <a:cs typeface="Arial"/>
              </a:rPr>
              <a:t>BD 15.02.2024 was excluded, due to zero capacity fallback applied for all 24 timestamps.</a:t>
            </a:r>
          </a:p>
          <a:p>
            <a:pPr lvl="1"/>
            <a:r>
              <a:rPr lang="en-US" dirty="0">
                <a:ea typeface="Arial Unicode MS"/>
                <a:cs typeface="Arial"/>
              </a:rPr>
              <a:t>As a result, KPI report contains results of 90 business days.</a:t>
            </a:r>
          </a:p>
          <a:p>
            <a:pPr marL="0" lvl="1" indent="0">
              <a:buNone/>
            </a:pPr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84829927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BB309B-522C-7255-0E76-0512FDF4A2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25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A graph of red lines&#10;&#10;Description automatically generated with medium confidence">
            <a:extLst>
              <a:ext uri="{FF2B5EF4-FFF2-40B4-BE49-F238E27FC236}">
                <a16:creationId xmlns:a16="http://schemas.microsoft.com/office/drawing/2014/main" id="{2EAF0D5E-9550-2E23-7220-1AA34D66D5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2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65947060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13" name="Picture 12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E1196FE0-AA8F-FDDA-820F-86FFA793F2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843415"/>
            <a:ext cx="9900101" cy="5709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83383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A2C3B2D-7ADD-BBBC-5EF8-883E676D83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43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3B60038E-049E-0AA9-4DA3-98518AE507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3412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 8 – Min and Max Net Positions per bidding zone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l-NL" dirty="0"/>
              <a:t>(a) Based on </a:t>
            </a:r>
            <a:r>
              <a:rPr lang="nl-NL" dirty="0" err="1"/>
              <a:t>final</a:t>
            </a:r>
            <a:r>
              <a:rPr lang="nl-NL" dirty="0"/>
              <a:t> FB domain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52437995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E9A5D2D-D49E-BF48-BB7D-049249B585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7615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B14F340-C51D-9F73-D1E3-22297CAE0D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42600"/>
            <a:ext cx="9906000" cy="607959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 8 – Min and Max Net Positions per bidding zone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l-NL" dirty="0"/>
              <a:t>(a) Based on </a:t>
            </a:r>
            <a:r>
              <a:rPr lang="nl-NL" dirty="0" err="1"/>
              <a:t>final</a:t>
            </a:r>
            <a:r>
              <a:rPr lang="nl-NL" dirty="0"/>
              <a:t> FB domain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7391268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 8 – Min and Max Net Positions per bidding zone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l-NL" dirty="0"/>
              <a:t>(a) Based on </a:t>
            </a:r>
            <a:r>
              <a:rPr lang="nl-NL" dirty="0" err="1"/>
              <a:t>final</a:t>
            </a:r>
            <a:r>
              <a:rPr lang="nl-NL" dirty="0"/>
              <a:t> FB domain</a:t>
            </a:r>
          </a:p>
          <a:p>
            <a:endParaRPr lang="hu-HU" dirty="0"/>
          </a:p>
        </p:txBody>
      </p:sp>
      <p:pic>
        <p:nvPicPr>
          <p:cNvPr id="15" name="Picture 1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0956A24-0386-F6C6-DA3B-3596BF2C9C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29358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6843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71E914-3B55-75DD-D7A5-25A6D1590F72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15" name="Picture 1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72B0E005-DDD7-741D-9698-86A6F1AC2E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4491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71E914-3B55-75DD-D7A5-25A6D1590F72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5" name="Picture 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80D4C7B6-8D6A-14EE-14A0-DC3292170B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66276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9C3588-DD2A-B8EB-A41D-4020ECB6AA94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13" name="Picture 12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24DCDFE-B919-D1B8-3FF3-07BD1951E4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18305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9C3588-DD2A-B8EB-A41D-4020ECB6AA94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022A732C-6159-E176-37A8-1724281484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34191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9C3588-DD2A-B8EB-A41D-4020ECB6AA94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4A3C008-AE7F-7674-3749-11BF450EBC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7704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1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uration curve of Core oriented bidding zone borders with simultaneous zero (or negative) ID ATCs​</a:t>
            </a:r>
          </a:p>
        </p:txBody>
      </p:sp>
      <p:pic>
        <p:nvPicPr>
          <p:cNvPr id="12" name="Picture 11" descr="A graph with a line going up&#10;&#10;Description automatically generated">
            <a:extLst>
              <a:ext uri="{FF2B5EF4-FFF2-40B4-BE49-F238E27FC236}">
                <a16:creationId xmlns:a16="http://schemas.microsoft.com/office/drawing/2014/main" id="{91483CBB-5D74-6A27-E36C-6DB2D071D2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5672" y="1052513"/>
            <a:ext cx="9001126" cy="455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73888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9C3588-DD2A-B8EB-A41D-4020ECB6AA94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13" name="Picture 12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C7F3DB3-AF0C-DB1D-B455-1BA1700989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479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B3DED-DBE6-AE87-DE36-4C001BF07825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9" name="Picture 8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62C5C686-9B05-10CF-E248-BE87F3D9EE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51887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B3DED-DBE6-AE87-DE36-4C001BF07825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9" name="Picture 8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BC94256B-D0DA-A073-EE69-9B7BDF0257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9743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86097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931002A9-2692-8D24-7F5F-F118CE9676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744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b) Based on final ID AT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11E7F14-87A0-D898-FF40-CC494FA38F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796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84917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blue and orange lines&#10;&#10;Description automatically generated">
            <a:extLst>
              <a:ext uri="{FF2B5EF4-FFF2-40B4-BE49-F238E27FC236}">
                <a16:creationId xmlns:a16="http://schemas.microsoft.com/office/drawing/2014/main" id="{CBE8C1CA-1C78-BA9D-1490-3026A03898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5331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7BBC6DA4-DF9B-3242-3FDF-E3D4B5762A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15841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orange and blue lines&#10;&#10;Description automatically generated">
            <a:extLst>
              <a:ext uri="{FF2B5EF4-FFF2-40B4-BE49-F238E27FC236}">
                <a16:creationId xmlns:a16="http://schemas.microsoft.com/office/drawing/2014/main" id="{A41F22ED-0C6F-F600-05DC-7219421195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41738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blue and orange lines&#10;&#10;Description automatically generated">
            <a:extLst>
              <a:ext uri="{FF2B5EF4-FFF2-40B4-BE49-F238E27FC236}">
                <a16:creationId xmlns:a16="http://schemas.microsoft.com/office/drawing/2014/main" id="{87865B60-3033-BBD4-9807-275665FB17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01315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56EE0772-D551-A480-4872-7FD026C735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276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2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zero and negative ID ATCs by oriented Core bidding zone border, and Core average​</a:t>
            </a:r>
          </a:p>
        </p:txBody>
      </p:sp>
      <p:pic>
        <p:nvPicPr>
          <p:cNvPr id="15" name="Picture 14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A3C89369-6CD7-2531-03B6-CE956969C2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874" y="1052513"/>
            <a:ext cx="9001126" cy="455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3262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FF5C9AC9-D0DF-F28E-BEFD-EB993110C5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68482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blue and orange lines&#10;&#10;Description automatically generated">
            <a:extLst>
              <a:ext uri="{FF2B5EF4-FFF2-40B4-BE49-F238E27FC236}">
                <a16:creationId xmlns:a16="http://schemas.microsoft.com/office/drawing/2014/main" id="{6BA1D3C2-818C-F5E7-A2BC-DBF061D038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51081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8609B9F8-958A-2870-FA2A-AB15945DB1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99493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67EC128F-A048-01C4-2A78-B2A0783EB9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83072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854482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of blue and orange lines&#10;&#10;Description automatically generated">
            <a:extLst>
              <a:ext uri="{FF2B5EF4-FFF2-40B4-BE49-F238E27FC236}">
                <a16:creationId xmlns:a16="http://schemas.microsoft.com/office/drawing/2014/main" id="{AAA329F7-05D1-B307-CDE7-CF59387C6C9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14126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5" name="Picture 4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F588075E-B91B-6817-2DD1-0296FC5EC9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89601"/>
            <a:ext cx="9906000" cy="527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072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3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isolated BZs of zero (or negative) ID ATCs in import, export and both directions​​</a:t>
            </a:r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39E4CFA6-F356-27C9-B8E7-AA37469FD0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4100" y="1052513"/>
            <a:ext cx="9001126" cy="455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7879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4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ean positive ID ATCs by oriented Core bidding zone border, and Core average​</a:t>
            </a:r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B8CA15F3-2628-70C1-BE20-CEFD1D1757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875" y="1056235"/>
            <a:ext cx="9001126" cy="455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822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5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en-US" dirty="0"/>
              <a:t>Share of MTUs with intervention per TSO</a:t>
            </a:r>
          </a:p>
        </p:txBody>
      </p:sp>
      <p:pic>
        <p:nvPicPr>
          <p:cNvPr id="6" name="Picture 5" descr="A graph with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6D1D7C91-47E4-9F3F-2677-D3D85CCBD0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875" y="1062133"/>
            <a:ext cx="9001126" cy="455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65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Magnus Red 4ENERGY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agnus color">
    <a:dk1>
      <a:srgbClr val="000000"/>
    </a:dk1>
    <a:lt1>
      <a:srgbClr val="FFFFFF"/>
    </a:lt1>
    <a:dk2>
      <a:srgbClr val="5F5F5F"/>
    </a:dk2>
    <a:lt2>
      <a:srgbClr val="BFBFBF"/>
    </a:lt2>
    <a:accent1>
      <a:srgbClr val="AD0600"/>
    </a:accent1>
    <a:accent2>
      <a:srgbClr val="0078AA"/>
    </a:accent2>
    <a:accent3>
      <a:srgbClr val="A0AA05"/>
    </a:accent3>
    <a:accent4>
      <a:srgbClr val="DC7306"/>
    </a:accent4>
    <a:accent5>
      <a:srgbClr val="E4002B"/>
    </a:accent5>
    <a:accent6>
      <a:srgbClr val="004682"/>
    </a:accent6>
    <a:hlink>
      <a:srgbClr val="3F3F3F"/>
    </a:hlink>
    <a:folHlink>
      <a:srgbClr val="A5A5A5"/>
    </a:folHlink>
  </a:clrScheme>
</a:themeOverride>
</file>

<file path=ppt/theme/themeOverride2.xml><?xml version="1.0" encoding="utf-8"?>
<a:themeOverride xmlns:a="http://schemas.openxmlformats.org/drawingml/2006/main">
  <a:clrScheme name="Magnus color">
    <a:dk1>
      <a:srgbClr val="000000"/>
    </a:dk1>
    <a:lt1>
      <a:srgbClr val="FFFFFF"/>
    </a:lt1>
    <a:dk2>
      <a:srgbClr val="5F5F5F"/>
    </a:dk2>
    <a:lt2>
      <a:srgbClr val="BFBFBF"/>
    </a:lt2>
    <a:accent1>
      <a:srgbClr val="AD0600"/>
    </a:accent1>
    <a:accent2>
      <a:srgbClr val="0078AA"/>
    </a:accent2>
    <a:accent3>
      <a:srgbClr val="A0AA05"/>
    </a:accent3>
    <a:accent4>
      <a:srgbClr val="DC7306"/>
    </a:accent4>
    <a:accent5>
      <a:srgbClr val="E4002B"/>
    </a:accent5>
    <a:accent6>
      <a:srgbClr val="004682"/>
    </a:accent6>
    <a:hlink>
      <a:srgbClr val="3F3F3F"/>
    </a:hlink>
    <a:folHlink>
      <a:srgbClr val="A5A5A5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3bb33e5-bbf9-4bbd-b752-30f1ea546036">
      <Terms xmlns="http://schemas.microsoft.com/office/infopath/2007/PartnerControls"/>
    </lcf76f155ced4ddcb4097134ff3c332f>
    <TaxCatchAll xmlns="6708568e-76bd-4ab6-a0fd-e9029131293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E20F6677570B4594AE3C70D059D60F" ma:contentTypeVersion="16" ma:contentTypeDescription="Create a new document." ma:contentTypeScope="" ma:versionID="06d67ccb7b9e804c946eea4de301aa21">
  <xsd:schema xmlns:xsd="http://www.w3.org/2001/XMLSchema" xmlns:xs="http://www.w3.org/2001/XMLSchema" xmlns:p="http://schemas.microsoft.com/office/2006/metadata/properties" xmlns:ns2="d3bb33e5-bbf9-4bbd-b752-30f1ea546036" xmlns:ns3="6708568e-76bd-4ab6-a0fd-e90291312931" targetNamespace="http://schemas.microsoft.com/office/2006/metadata/properties" ma:root="true" ma:fieldsID="6e1b1801bf9de293437c600e00c73275" ns2:_="" ns3:_="">
    <xsd:import namespace="d3bb33e5-bbf9-4bbd-b752-30f1ea546036"/>
    <xsd:import namespace="6708568e-76bd-4ab6-a0fd-e9029131293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bb33e5-bbf9-4bbd-b752-30f1ea5460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583ee3c-f8b4-4f86-8f08-197d062ad5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08568e-76bd-4ab6-a0fd-e9029131293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228334f-05a1-48ac-b2dd-e71f0020a819}" ma:internalName="TaxCatchAll" ma:showField="CatchAllData" ma:web="6708568e-76bd-4ab6-a0fd-e9029131293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63B1F98-5418-4DB4-8887-EEDBE3A3006E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d3bb33e5-bbf9-4bbd-b752-30f1ea546036"/>
    <ds:schemaRef ds:uri="http://schemas.microsoft.com/office/infopath/2007/PartnerControls"/>
    <ds:schemaRef ds:uri="6708568e-76bd-4ab6-a0fd-e90291312931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9C66D46-DB5D-41A2-AFA4-25CF3594102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073E8D5-F2F0-41D3-8329-5DDC3BA8AA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bb33e5-bbf9-4bbd-b752-30f1ea546036"/>
    <ds:schemaRef ds:uri="6708568e-76bd-4ab6-a0fd-e9029131293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92</Words>
  <Application>Microsoft Office PowerPoint</Application>
  <PresentationFormat>A4 Paper (210x297 mm)</PresentationFormat>
  <Paragraphs>184</Paragraphs>
  <Slides>6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70" baseType="lpstr">
      <vt:lpstr>Arial</vt:lpstr>
      <vt:lpstr>Arial Unicode MS</vt:lpstr>
      <vt:lpstr>Wingdings</vt:lpstr>
      <vt:lpstr>7_Magnus Red 4ENERGY</vt:lpstr>
      <vt:lpstr>think-cell Slide</vt:lpstr>
      <vt:lpstr>PowerPoint Presentation</vt:lpstr>
      <vt:lpstr>Parallel Run KPIs</vt:lpstr>
      <vt:lpstr>Parallel Run KPIs</vt:lpstr>
      <vt:lpstr>Parallel Run KPIs</vt:lpstr>
      <vt:lpstr>KPI 1</vt:lpstr>
      <vt:lpstr>KPI 2</vt:lpstr>
      <vt:lpstr>KPI 3</vt:lpstr>
      <vt:lpstr>KPI 4</vt:lpstr>
      <vt:lpstr>KPI 5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140</cp:revision>
  <dcterms:created xsi:type="dcterms:W3CDTF">2018-12-04T09:56:18Z</dcterms:created>
  <dcterms:modified xsi:type="dcterms:W3CDTF">2024-05-13T06:2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E20F6677570B4594AE3C70D059D60F</vt:lpwstr>
  </property>
  <property fmtid="{D5CDD505-2E9C-101B-9397-08002B2CF9AE}" pid="3" name="MediaServiceImageTags">
    <vt:lpwstr/>
  </property>
  <property fmtid="{D5CDD505-2E9C-101B-9397-08002B2CF9AE}" pid="4" name="MSIP_Label_2e585759-362d-4185-bb50-fc81b58bf15d_Enabled">
    <vt:lpwstr>true</vt:lpwstr>
  </property>
  <property fmtid="{D5CDD505-2E9C-101B-9397-08002B2CF9AE}" pid="5" name="MSIP_Label_2e585759-362d-4185-bb50-fc81b58bf15d_SetDate">
    <vt:lpwstr>2023-07-27T08:20:10Z</vt:lpwstr>
  </property>
  <property fmtid="{D5CDD505-2E9C-101B-9397-08002B2CF9AE}" pid="6" name="MSIP_Label_2e585759-362d-4185-bb50-fc81b58bf15d_Method">
    <vt:lpwstr>Standard</vt:lpwstr>
  </property>
  <property fmtid="{D5CDD505-2E9C-101B-9397-08002B2CF9AE}" pid="7" name="MSIP_Label_2e585759-362d-4185-bb50-fc81b58bf15d_Name">
    <vt:lpwstr>2e585759-362d-4185-bb50-fc81b58bf15d</vt:lpwstr>
  </property>
  <property fmtid="{D5CDD505-2E9C-101B-9397-08002B2CF9AE}" pid="8" name="MSIP_Label_2e585759-362d-4185-bb50-fc81b58bf15d_SiteId">
    <vt:lpwstr>6dfa2abc-8bb8-4557-855c-e532cacb5122</vt:lpwstr>
  </property>
  <property fmtid="{D5CDD505-2E9C-101B-9397-08002B2CF9AE}" pid="9" name="MSIP_Label_2e585759-362d-4185-bb50-fc81b58bf15d_ActionId">
    <vt:lpwstr>c2acad35-995c-4d7d-8153-26c54193e6a1</vt:lpwstr>
  </property>
  <property fmtid="{D5CDD505-2E9C-101B-9397-08002B2CF9AE}" pid="10" name="MSIP_Label_2e585759-362d-4185-bb50-fc81b58bf15d_ContentBits">
    <vt:lpwstr>0</vt:lpwstr>
  </property>
</Properties>
</file>